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68" r:id="rId2"/>
  </p:sldIdLst>
  <p:sldSz cx="7556500" cy="10693400"/>
  <p:notesSz cx="6858000" cy="9144000"/>
  <p:embeddedFontLst>
    <p:embeddedFont>
      <p:font typeface="Lacquer" pitchFamily="2" charset="0"/>
      <p:regular r:id="rId3"/>
    </p:embeddedFont>
    <p:embeddedFont>
      <p:font typeface="Mansalva" pitchFamily="2" charset="0"/>
      <p:regular r:id="rId4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21B08"/>
    <a:srgbClr val="6A61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 autoAdjust="0"/>
    <p:restoredTop sz="94622" autoAdjust="0"/>
  </p:normalViewPr>
  <p:slideViewPr>
    <p:cSldViewPr>
      <p:cViewPr varScale="1">
        <p:scale>
          <a:sx n="52" d="100"/>
          <a:sy n="52" d="100"/>
        </p:scale>
        <p:origin x="1992" y="4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font" Target="fonts/font1.fntdata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font" Target="fonts/font2.fntdata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6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6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6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6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6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6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9/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5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C12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Trunk or Treat #3">
            <a:extLst>
              <a:ext uri="{FF2B5EF4-FFF2-40B4-BE49-F238E27FC236}">
                <a16:creationId xmlns:a16="http://schemas.microsoft.com/office/drawing/2014/main" id="{C8150188-95CC-CBCB-D6B9-B66E2A907D3F}"/>
              </a:ext>
            </a:extLst>
          </p:cNvPr>
          <p:cNvGrpSpPr/>
          <p:nvPr/>
        </p:nvGrpSpPr>
        <p:grpSpPr>
          <a:xfrm>
            <a:off x="0" y="0"/>
            <a:ext cx="7560000" cy="10532465"/>
            <a:chOff x="0" y="0"/>
            <a:chExt cx="7560000" cy="10532465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6B4114E0-67DC-F149-C41D-0809E3B253DF}"/>
                </a:ext>
              </a:extLst>
            </p:cNvPr>
            <p:cNvGrpSpPr/>
            <p:nvPr/>
          </p:nvGrpSpPr>
          <p:grpSpPr>
            <a:xfrm>
              <a:off x="0" y="0"/>
              <a:ext cx="7560000" cy="3396825"/>
              <a:chOff x="0" y="0"/>
              <a:chExt cx="7560000" cy="3396825"/>
            </a:xfrm>
          </p:grpSpPr>
          <p:pic>
            <p:nvPicPr>
              <p:cNvPr id="3" name="Picture 3"/>
              <p:cNvPicPr>
                <a:picLocks noChangeAspect="1"/>
              </p:cNvPicPr>
              <p:nvPr/>
            </p:nvPicPr>
            <p:blipFill>
              <a:blip r:embed="rId3">
                <a:alphaModFix amt="50000"/>
              </a:blip>
              <a:srcRect t="20961" r="26842" b="13670"/>
              <a:stretch/>
            </p:blipFill>
            <p:spPr>
              <a:xfrm>
                <a:off x="0" y="0"/>
                <a:ext cx="7556500" cy="3375973"/>
              </a:xfrm>
              <a:prstGeom prst="rect">
                <a:avLst/>
              </a:prstGeom>
            </p:spPr>
          </p:pic>
          <p:sp>
            <p:nvSpPr>
              <p:cNvPr id="5" name="Overlay"/>
              <p:cNvSpPr/>
              <p:nvPr/>
            </p:nvSpPr>
            <p:spPr>
              <a:xfrm rot="10800000">
                <a:off x="0" y="1128825"/>
                <a:ext cx="7560000" cy="2268000"/>
              </a:xfrm>
              <a:custGeom>
                <a:avLst/>
                <a:gdLst/>
                <a:ahLst/>
                <a:cxnLst/>
                <a:rect l="l" t="t" r="r" b="b"/>
                <a:pathLst>
                  <a:path w="2709333" h="812800">
                    <a:moveTo>
                      <a:pt x="0" y="0"/>
                    </a:moveTo>
                    <a:lnTo>
                      <a:pt x="2709333" y="0"/>
                    </a:lnTo>
                    <a:lnTo>
                      <a:pt x="2709333" y="812800"/>
                    </a:lnTo>
                    <a:lnTo>
                      <a:pt x="0" y="81280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3C1223">
                      <a:alpha val="100000"/>
                    </a:srgbClr>
                  </a:gs>
                  <a:gs pos="100000">
                    <a:srgbClr val="3C1223">
                      <a:alpha val="0"/>
                    </a:srgbClr>
                  </a:gs>
                </a:gsLst>
                <a:lin ang="5400000"/>
              </a:gradFill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E3670586-C694-2543-DEB5-DA9F22CE76A5}"/>
                </a:ext>
              </a:extLst>
            </p:cNvPr>
            <p:cNvGrpSpPr/>
            <p:nvPr/>
          </p:nvGrpSpPr>
          <p:grpSpPr>
            <a:xfrm>
              <a:off x="267636" y="0"/>
              <a:ext cx="6996850" cy="2817514"/>
              <a:chOff x="267636" y="0"/>
              <a:chExt cx="6996850" cy="2817514"/>
            </a:xfrm>
          </p:grpSpPr>
          <p:sp>
            <p:nvSpPr>
              <p:cNvPr id="7" name="TextBox 7"/>
              <p:cNvSpPr txBox="1"/>
              <p:nvPr/>
            </p:nvSpPr>
            <p:spPr>
              <a:xfrm>
                <a:off x="267636" y="444268"/>
                <a:ext cx="3550001" cy="1407437"/>
              </a:xfrm>
              <a:prstGeom prst="rect">
                <a:avLst/>
              </a:prstGeom>
            </p:spPr>
            <p:txBody>
              <a:bodyPr lIns="0" tIns="91440" rIns="0" bIns="0" rtlCol="0" anchor="t">
                <a:spAutoFit/>
              </a:bodyPr>
              <a:lstStyle/>
              <a:p>
                <a:pPr algn="l"/>
                <a:r>
                  <a:rPr lang="en-US" sz="8546" dirty="0">
                    <a:solidFill>
                      <a:srgbClr val="FFF6E2">
                        <a:alpha val="89804"/>
                      </a:srgbClr>
                    </a:solidFill>
                    <a:latin typeface="Lacquer"/>
                    <a:ea typeface="Lacquer"/>
                    <a:cs typeface="Lacquer"/>
                    <a:sym typeface="Lacquer"/>
                  </a:rPr>
                  <a:t>TRUNK</a:t>
                </a:r>
              </a:p>
            </p:txBody>
          </p:sp>
          <p:sp>
            <p:nvSpPr>
              <p:cNvPr id="10" name="Freeform 10"/>
              <p:cNvSpPr/>
              <p:nvPr/>
            </p:nvSpPr>
            <p:spPr>
              <a:xfrm flipH="1">
                <a:off x="2872306" y="694987"/>
                <a:ext cx="1364924" cy="1986000"/>
              </a:xfrm>
              <a:custGeom>
                <a:avLst/>
                <a:gdLst/>
                <a:ahLst/>
                <a:cxnLst/>
                <a:rect l="l" t="t" r="r" b="b"/>
                <a:pathLst>
                  <a:path w="1364924" h="1986000">
                    <a:moveTo>
                      <a:pt x="1364923" y="0"/>
                    </a:moveTo>
                    <a:lnTo>
                      <a:pt x="0" y="0"/>
                    </a:lnTo>
                    <a:lnTo>
                      <a:pt x="0" y="1986000"/>
                    </a:lnTo>
                    <a:lnTo>
                      <a:pt x="1364923" y="1986000"/>
                    </a:lnTo>
                    <a:lnTo>
                      <a:pt x="1364923" y="0"/>
                    </a:lnTo>
                    <a:close/>
                  </a:path>
                </a:pathLst>
              </a:custGeom>
              <a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1" name="TextBox 11"/>
              <p:cNvSpPr txBox="1"/>
              <p:nvPr/>
            </p:nvSpPr>
            <p:spPr>
              <a:xfrm rot="20450607">
                <a:off x="3482842" y="1883501"/>
                <a:ext cx="433818" cy="19811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680"/>
                  </a:lnSpc>
                  <a:spcBef>
                    <a:spcPct val="0"/>
                  </a:spcBef>
                </a:pPr>
                <a:r>
                  <a:rPr lang="en-US" sz="1200" spc="150" dirty="0">
                    <a:solidFill>
                      <a:srgbClr val="E44B2A"/>
                    </a:solidFill>
                    <a:latin typeface="Lacquer"/>
                    <a:ea typeface="Lacquer"/>
                    <a:cs typeface="Lacquer"/>
                    <a:sym typeface="Lacquer"/>
                  </a:rPr>
                  <a:t>OR</a:t>
                </a:r>
              </a:p>
            </p:txBody>
          </p:sp>
          <p:sp>
            <p:nvSpPr>
              <p:cNvPr id="12" name="TextBox 12"/>
              <p:cNvSpPr txBox="1"/>
              <p:nvPr/>
            </p:nvSpPr>
            <p:spPr>
              <a:xfrm>
                <a:off x="267636" y="477816"/>
                <a:ext cx="3147533" cy="18466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l">
                  <a:spcBef>
                    <a:spcPct val="0"/>
                  </a:spcBef>
                </a:pPr>
                <a:r>
                  <a:rPr lang="en-US" sz="1200" spc="150" dirty="0">
                    <a:solidFill>
                      <a:srgbClr val="FFF6E2">
                        <a:alpha val="80000"/>
                      </a:srgbClr>
                    </a:solidFill>
                    <a:latin typeface="Lacquer"/>
                    <a:ea typeface="Lacquer"/>
                    <a:cs typeface="Lacquer"/>
                    <a:sym typeface="Lacquer"/>
                  </a:rPr>
                  <a:t>SIGN UP SHEET</a:t>
                </a:r>
              </a:p>
            </p:txBody>
          </p:sp>
          <p:sp>
            <p:nvSpPr>
              <p:cNvPr id="13" name="AutoShape 13"/>
              <p:cNvSpPr/>
              <p:nvPr/>
            </p:nvSpPr>
            <p:spPr>
              <a:xfrm>
                <a:off x="3468599" y="0"/>
                <a:ext cx="0" cy="725520"/>
              </a:xfrm>
              <a:prstGeom prst="line">
                <a:avLst/>
              </a:prstGeom>
              <a:ln w="38100" cap="flat">
                <a:solidFill>
                  <a:srgbClr val="F2CD7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4" name="TextBox 14"/>
              <p:cNvSpPr txBox="1"/>
              <p:nvPr/>
            </p:nvSpPr>
            <p:spPr>
              <a:xfrm>
                <a:off x="5379994" y="646089"/>
                <a:ext cx="1884492" cy="541174"/>
              </a:xfrm>
              <a:prstGeom prst="rect">
                <a:avLst/>
              </a:prstGeom>
            </p:spPr>
            <p:txBody>
              <a:bodyPr lIns="0" tIns="91440" rIns="0" bIns="0" rtlCol="0" anchor="t">
                <a:spAutoFit/>
              </a:bodyPr>
              <a:lstStyle/>
              <a:p>
                <a:pPr marL="0" lvl="0" indent="0" algn="r">
                  <a:lnSpc>
                    <a:spcPts val="3461"/>
                  </a:lnSpc>
                  <a:spcBef>
                    <a:spcPct val="0"/>
                  </a:spcBef>
                </a:pPr>
                <a:r>
                  <a:rPr lang="en-US" sz="4300" u="none" strike="noStrike" spc="-86" dirty="0">
                    <a:solidFill>
                      <a:srgbClr val="FFF6E2">
                        <a:alpha val="89804"/>
                      </a:srgbClr>
                    </a:solidFill>
                    <a:latin typeface="Lacquer"/>
                    <a:ea typeface="Lacquer"/>
                    <a:cs typeface="Lacquer"/>
                    <a:sym typeface="Lacquer"/>
                  </a:rPr>
                  <a:t>Center</a:t>
                </a:r>
              </a:p>
            </p:txBody>
          </p:sp>
          <p:sp>
            <p:nvSpPr>
              <p:cNvPr id="15" name="TextBox 15"/>
              <p:cNvSpPr txBox="1"/>
              <p:nvPr/>
            </p:nvSpPr>
            <p:spPr>
              <a:xfrm>
                <a:off x="4610382" y="1607459"/>
                <a:ext cx="2654104" cy="27699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r"/>
                <a:r>
                  <a:rPr lang="en-US" spc="-99" dirty="0">
                    <a:solidFill>
                      <a:srgbClr val="FFF6E2">
                        <a:alpha val="69804"/>
                      </a:srgbClr>
                    </a:solidFill>
                    <a:latin typeface="Mansalva"/>
                    <a:ea typeface="Mansalva"/>
                    <a:cs typeface="Mansalva"/>
                    <a:sym typeface="Mansalva"/>
                  </a:rPr>
                  <a:t>31.10 | 3:00 PM</a:t>
                </a:r>
              </a:p>
            </p:txBody>
          </p:sp>
          <p:sp>
            <p:nvSpPr>
              <p:cNvPr id="2" name="TextBox 7">
                <a:extLst>
                  <a:ext uri="{FF2B5EF4-FFF2-40B4-BE49-F238E27FC236}">
                    <a16:creationId xmlns:a16="http://schemas.microsoft.com/office/drawing/2014/main" id="{6EDB8440-C5AA-7D74-23B9-4E40CECFFC79}"/>
                  </a:ext>
                </a:extLst>
              </p:cNvPr>
              <p:cNvSpPr txBox="1"/>
              <p:nvPr/>
            </p:nvSpPr>
            <p:spPr>
              <a:xfrm>
                <a:off x="267636" y="1410077"/>
                <a:ext cx="3550001" cy="1407437"/>
              </a:xfrm>
              <a:prstGeom prst="rect">
                <a:avLst/>
              </a:prstGeom>
            </p:spPr>
            <p:txBody>
              <a:bodyPr lIns="0" tIns="91440" rIns="0" bIns="0" rtlCol="0" anchor="t">
                <a:spAutoFit/>
              </a:bodyPr>
              <a:lstStyle/>
              <a:p>
                <a:pPr algn="l"/>
                <a:r>
                  <a:rPr lang="en-US" sz="8546" dirty="0">
                    <a:solidFill>
                      <a:srgbClr val="FFF6E2">
                        <a:alpha val="89804"/>
                      </a:srgbClr>
                    </a:solidFill>
                    <a:latin typeface="Lacquer"/>
                    <a:ea typeface="Lacquer"/>
                    <a:cs typeface="Lacquer"/>
                    <a:sym typeface="Lacquer"/>
                  </a:rPr>
                  <a:t>TREAT</a:t>
                </a:r>
              </a:p>
            </p:txBody>
          </p:sp>
          <p:sp>
            <p:nvSpPr>
              <p:cNvPr id="4" name="TextBox 14">
                <a:extLst>
                  <a:ext uri="{FF2B5EF4-FFF2-40B4-BE49-F238E27FC236}">
                    <a16:creationId xmlns:a16="http://schemas.microsoft.com/office/drawing/2014/main" id="{1E2BD035-B1A4-A125-C9D8-9C38EBEFB6BF}"/>
                  </a:ext>
                </a:extLst>
              </p:cNvPr>
              <p:cNvSpPr txBox="1"/>
              <p:nvPr/>
            </p:nvSpPr>
            <p:spPr>
              <a:xfrm>
                <a:off x="5379994" y="1079927"/>
                <a:ext cx="1884492" cy="541174"/>
              </a:xfrm>
              <a:prstGeom prst="rect">
                <a:avLst/>
              </a:prstGeom>
            </p:spPr>
            <p:txBody>
              <a:bodyPr lIns="0" tIns="91440" rIns="0" bIns="0" rtlCol="0" anchor="t">
                <a:spAutoFit/>
              </a:bodyPr>
              <a:lstStyle/>
              <a:p>
                <a:pPr marL="0" lvl="0" indent="0" algn="r">
                  <a:lnSpc>
                    <a:spcPts val="3461"/>
                  </a:lnSpc>
                  <a:spcBef>
                    <a:spcPct val="0"/>
                  </a:spcBef>
                </a:pPr>
                <a:r>
                  <a:rPr lang="en-US" sz="4400" dirty="0">
                    <a:solidFill>
                      <a:srgbClr val="FFF6E2">
                        <a:alpha val="89804"/>
                      </a:srgbClr>
                    </a:solidFill>
                    <a:latin typeface="Lacquer"/>
                    <a:ea typeface="Lacquer"/>
                    <a:cs typeface="Lacquer"/>
                    <a:sym typeface="Lacquer"/>
                  </a:rPr>
                  <a:t>park</a:t>
                </a:r>
                <a:endParaRPr lang="en-US" sz="4300" u="none" strike="noStrike" spc="-86" dirty="0">
                  <a:solidFill>
                    <a:srgbClr val="FFF6E2">
                      <a:alpha val="89804"/>
                    </a:srgbClr>
                  </a:solidFill>
                  <a:latin typeface="Lacquer"/>
                  <a:ea typeface="Lacquer"/>
                  <a:cs typeface="Lacquer"/>
                  <a:sym typeface="Lacquer"/>
                </a:endParaRPr>
              </a:p>
            </p:txBody>
          </p:sp>
        </p:grpSp>
        <p:sp>
          <p:nvSpPr>
            <p:cNvPr id="9" name="QuickSignup"/>
            <p:cNvSpPr/>
            <p:nvPr/>
          </p:nvSpPr>
          <p:spPr>
            <a:xfrm>
              <a:off x="3449549" y="10399252"/>
              <a:ext cx="660903" cy="133213"/>
            </a:xfrm>
            <a:custGeom>
              <a:avLst/>
              <a:gdLst/>
              <a:ahLst/>
              <a:cxnLst/>
              <a:rect l="l" t="t" r="r" b="b"/>
              <a:pathLst>
                <a:path w="660903" h="133213">
                  <a:moveTo>
                    <a:pt x="0" y="0"/>
                  </a:moveTo>
                  <a:lnTo>
                    <a:pt x="660902" y="0"/>
                  </a:lnTo>
                  <a:lnTo>
                    <a:pt x="660902" y="133213"/>
                  </a:lnTo>
                  <a:lnTo>
                    <a:pt x="0" y="13321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6">
                <a:alphaModFix amt="80000"/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  <p:graphicFrame>
        <p:nvGraphicFramePr>
          <p:cNvPr id="8" name="Tabl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9846974"/>
              </p:ext>
            </p:extLst>
          </p:nvPr>
        </p:nvGraphicFramePr>
        <p:xfrm>
          <a:off x="267636" y="3396824"/>
          <a:ext cx="6996849" cy="6844140"/>
        </p:xfrm>
        <a:graphic>
          <a:graphicData uri="http://schemas.openxmlformats.org/drawingml/2006/table">
            <a:tbl>
              <a:tblPr/>
              <a:tblGrid>
                <a:gridCol w="23322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322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322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56276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ts val="1120"/>
                        </a:lnSpc>
                        <a:spcBef>
                          <a:spcPct val="0"/>
                        </a:spcBef>
                        <a:defRPr/>
                      </a:pPr>
                      <a:r>
                        <a:rPr lang="en-US" sz="800" spc="-16" dirty="0">
                          <a:solidFill>
                            <a:srgbClr val="EDE9E1"/>
                          </a:solidFill>
                          <a:latin typeface="Lacquer"/>
                          <a:ea typeface="Lacquer"/>
                          <a:cs typeface="Lacquer"/>
                          <a:sym typeface="Lacquer"/>
                        </a:rPr>
                        <a:t>Full Name</a:t>
                      </a:r>
                      <a:endParaRPr lang="en-US" sz="1100" dirty="0"/>
                    </a:p>
                  </a:txBody>
                  <a:tcPr marL="0" marR="0" marT="0" marB="0" anchor="ctr">
                    <a:lnL w="6155" cap="flat" cmpd="sng" algn="ctr">
                      <a:solidFill>
                        <a:srgbClr val="721B0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155" cap="flat" cmpd="sng" algn="ctr">
                      <a:solidFill>
                        <a:srgbClr val="721B0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5" cap="flat" cmpd="sng" algn="ctr">
                      <a:solidFill>
                        <a:srgbClr val="721B0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155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21B08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ts val="1120"/>
                        </a:lnSpc>
                        <a:spcBef>
                          <a:spcPct val="0"/>
                        </a:spcBef>
                        <a:defRPr/>
                      </a:pPr>
                      <a:r>
                        <a:rPr lang="en-US" sz="800" spc="-16" dirty="0">
                          <a:solidFill>
                            <a:srgbClr val="EDE9E1"/>
                          </a:solidFill>
                          <a:latin typeface="Lacquer"/>
                          <a:ea typeface="Lacquer"/>
                          <a:cs typeface="Lacquer"/>
                          <a:sym typeface="Lacquer"/>
                        </a:rPr>
                        <a:t>Phone</a:t>
                      </a:r>
                      <a:endParaRPr lang="en-US" sz="1100" dirty="0"/>
                    </a:p>
                  </a:txBody>
                  <a:tcPr marL="0" marR="0" marT="0" marB="0" anchor="ctr">
                    <a:lnL w="6155" cap="flat" cmpd="sng" algn="ctr">
                      <a:solidFill>
                        <a:srgbClr val="721B0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155" cap="flat" cmpd="sng" algn="ctr">
                      <a:solidFill>
                        <a:srgbClr val="721B0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5" cap="flat" cmpd="sng" algn="ctr">
                      <a:solidFill>
                        <a:srgbClr val="721B0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155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21B0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20"/>
                        </a:lnSpc>
                        <a:spcBef>
                          <a:spcPct val="0"/>
                        </a:spcBef>
                        <a:defRPr/>
                      </a:pPr>
                      <a:r>
                        <a:rPr lang="en-US" sz="800" spc="-16" dirty="0">
                          <a:solidFill>
                            <a:srgbClr val="EDE9E1"/>
                          </a:solidFill>
                          <a:latin typeface="Lacquer"/>
                          <a:ea typeface="Lacquer"/>
                          <a:cs typeface="Lacquer"/>
                          <a:sym typeface="Lacquer"/>
                        </a:rPr>
                        <a:t>Goodies Provided</a:t>
                      </a:r>
                      <a:endParaRPr lang="en-US" sz="1100" dirty="0"/>
                    </a:p>
                  </a:txBody>
                  <a:tcPr marL="0" marR="0" marT="0" marB="0" anchor="ctr">
                    <a:lnL w="6155" cap="flat" cmpd="sng" algn="ctr">
                      <a:solidFill>
                        <a:srgbClr val="721B0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155" cap="flat" cmpd="sng" algn="ctr">
                      <a:solidFill>
                        <a:srgbClr val="721B0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5" cap="flat" cmpd="sng" algn="ctr">
                      <a:solidFill>
                        <a:srgbClr val="721B0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155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21B0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6276">
                <a:tc>
                  <a:txBody>
                    <a:bodyPr/>
                    <a:lstStyle/>
                    <a:p>
                      <a:pPr algn="ctr">
                        <a:lnSpc>
                          <a:spcPts val="873"/>
                        </a:lnSpc>
                        <a:defRPr/>
                      </a:pPr>
                      <a:endParaRPr lang="en-US" sz="700" dirty="0">
                        <a:solidFill>
                          <a:srgbClr val="721B08"/>
                        </a:solidFill>
                        <a:latin typeface="Lacquer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5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73"/>
                        </a:lnSpc>
                        <a:defRPr/>
                      </a:pPr>
                      <a:endParaRPr lang="en-US" sz="700" dirty="0">
                        <a:solidFill>
                          <a:srgbClr val="721B08"/>
                        </a:solidFill>
                        <a:latin typeface="Lacquer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5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73"/>
                        </a:lnSpc>
                        <a:defRPr/>
                      </a:pPr>
                      <a:endParaRPr lang="en-US" sz="700" dirty="0">
                        <a:solidFill>
                          <a:srgbClr val="721B08"/>
                        </a:solidFill>
                        <a:latin typeface="Lacquer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5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6276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00" dirty="0">
                        <a:solidFill>
                          <a:srgbClr val="721B08"/>
                        </a:solidFill>
                        <a:latin typeface="Lacquer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00" dirty="0">
                        <a:solidFill>
                          <a:srgbClr val="721B08"/>
                        </a:solidFill>
                        <a:latin typeface="Lacquer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00" dirty="0">
                        <a:solidFill>
                          <a:srgbClr val="721B08"/>
                        </a:solidFill>
                        <a:latin typeface="Lacquer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6276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00" dirty="0">
                        <a:solidFill>
                          <a:srgbClr val="721B08"/>
                        </a:solidFill>
                        <a:latin typeface="Lacquer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00" dirty="0">
                        <a:solidFill>
                          <a:srgbClr val="721B08"/>
                        </a:solidFill>
                        <a:latin typeface="Lacquer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00" dirty="0">
                        <a:solidFill>
                          <a:srgbClr val="721B08"/>
                        </a:solidFill>
                        <a:latin typeface="Lacquer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6276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00" dirty="0">
                        <a:solidFill>
                          <a:srgbClr val="721B08"/>
                        </a:solidFill>
                        <a:latin typeface="Lacquer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00" dirty="0">
                        <a:solidFill>
                          <a:srgbClr val="721B08"/>
                        </a:solidFill>
                        <a:latin typeface="Lacquer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00" dirty="0">
                        <a:solidFill>
                          <a:srgbClr val="721B08"/>
                        </a:solidFill>
                        <a:latin typeface="Lacquer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6276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00" dirty="0">
                        <a:solidFill>
                          <a:srgbClr val="721B08"/>
                        </a:solidFill>
                        <a:latin typeface="Lacquer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00" dirty="0">
                        <a:solidFill>
                          <a:srgbClr val="721B08"/>
                        </a:solidFill>
                        <a:latin typeface="Lacquer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00" dirty="0">
                        <a:solidFill>
                          <a:srgbClr val="721B08"/>
                        </a:solidFill>
                        <a:latin typeface="Lacquer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6276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00" dirty="0">
                        <a:solidFill>
                          <a:srgbClr val="721B08"/>
                        </a:solidFill>
                        <a:latin typeface="Lacquer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00" dirty="0">
                        <a:solidFill>
                          <a:srgbClr val="721B08"/>
                        </a:solidFill>
                        <a:latin typeface="Lacquer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00" dirty="0">
                        <a:solidFill>
                          <a:srgbClr val="721B08"/>
                        </a:solidFill>
                        <a:latin typeface="Lacquer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56276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00" dirty="0">
                        <a:solidFill>
                          <a:srgbClr val="721B08"/>
                        </a:solidFill>
                        <a:latin typeface="Lacquer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00" dirty="0">
                        <a:solidFill>
                          <a:srgbClr val="721B08"/>
                        </a:solidFill>
                        <a:latin typeface="Lacquer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00" dirty="0">
                        <a:solidFill>
                          <a:srgbClr val="721B08"/>
                        </a:solidFill>
                        <a:latin typeface="Lacquer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56276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00" dirty="0">
                        <a:solidFill>
                          <a:srgbClr val="721B08"/>
                        </a:solidFill>
                        <a:latin typeface="Lacquer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00" dirty="0">
                        <a:solidFill>
                          <a:srgbClr val="721B08"/>
                        </a:solidFill>
                        <a:latin typeface="Lacquer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00" dirty="0">
                        <a:solidFill>
                          <a:srgbClr val="721B08"/>
                        </a:solidFill>
                        <a:latin typeface="Lacquer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56276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00" dirty="0">
                        <a:solidFill>
                          <a:srgbClr val="721B08"/>
                        </a:solidFill>
                        <a:latin typeface="Lacquer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00" dirty="0">
                        <a:solidFill>
                          <a:srgbClr val="721B08"/>
                        </a:solidFill>
                        <a:latin typeface="Lacquer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00" dirty="0">
                        <a:solidFill>
                          <a:srgbClr val="721B08"/>
                        </a:solidFill>
                        <a:latin typeface="Lacquer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56276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00" dirty="0">
                        <a:solidFill>
                          <a:srgbClr val="721B08"/>
                        </a:solidFill>
                        <a:latin typeface="Lacquer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00" dirty="0">
                        <a:solidFill>
                          <a:srgbClr val="721B08"/>
                        </a:solidFill>
                        <a:latin typeface="Lacquer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00" dirty="0">
                        <a:solidFill>
                          <a:srgbClr val="721B08"/>
                        </a:solidFill>
                        <a:latin typeface="Lacquer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56276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00" dirty="0">
                        <a:solidFill>
                          <a:srgbClr val="721B08"/>
                        </a:solidFill>
                        <a:latin typeface="Lacquer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00" dirty="0">
                        <a:solidFill>
                          <a:srgbClr val="721B08"/>
                        </a:solidFill>
                        <a:latin typeface="Lacquer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00" dirty="0">
                        <a:solidFill>
                          <a:srgbClr val="721B08"/>
                        </a:solidFill>
                        <a:latin typeface="Lacquer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456276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00" dirty="0">
                        <a:solidFill>
                          <a:srgbClr val="721B08"/>
                        </a:solidFill>
                        <a:latin typeface="Lacquer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00" dirty="0">
                        <a:solidFill>
                          <a:srgbClr val="721B08"/>
                        </a:solidFill>
                        <a:latin typeface="Lacquer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00" dirty="0">
                        <a:solidFill>
                          <a:srgbClr val="721B08"/>
                        </a:solidFill>
                        <a:latin typeface="Lacquer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56276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00" dirty="0">
                        <a:solidFill>
                          <a:srgbClr val="721B08"/>
                        </a:solidFill>
                        <a:latin typeface="Lacquer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00" dirty="0">
                        <a:solidFill>
                          <a:srgbClr val="721B08"/>
                        </a:solidFill>
                        <a:latin typeface="Lacquer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00" dirty="0">
                        <a:solidFill>
                          <a:srgbClr val="721B08"/>
                        </a:solidFill>
                        <a:latin typeface="Lacquer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456276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00" dirty="0">
                        <a:solidFill>
                          <a:srgbClr val="721B08"/>
                        </a:solidFill>
                        <a:latin typeface="Lacquer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00" dirty="0">
                        <a:solidFill>
                          <a:srgbClr val="721B08"/>
                        </a:solidFill>
                        <a:latin typeface="Lacquer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00" dirty="0">
                        <a:solidFill>
                          <a:srgbClr val="721B08"/>
                        </a:solidFill>
                        <a:latin typeface="Lacquer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C6AB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280318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0</TotalTime>
  <Words>17</Words>
  <Application>Microsoft Office PowerPoint</Application>
  <PresentationFormat>Custom</PresentationFormat>
  <Paragraphs>10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Mansalva</vt:lpstr>
      <vt:lpstr>Calibri</vt:lpstr>
      <vt:lpstr>Lacquer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(Portrait)</dc:title>
  <dc:creator>Hoang Anh</dc:creator>
  <cp:lastModifiedBy>Anh Hoang</cp:lastModifiedBy>
  <cp:revision>23</cp:revision>
  <dcterms:created xsi:type="dcterms:W3CDTF">2006-08-16T00:00:00Z</dcterms:created>
  <dcterms:modified xsi:type="dcterms:W3CDTF">2024-09-06T11:27:47Z</dcterms:modified>
  <dc:identifier>DAGP8hHXLX0</dc:identifier>
</cp:coreProperties>
</file>